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311" r:id="rId2"/>
    <p:sldId id="1265" r:id="rId3"/>
    <p:sldId id="1312" r:id="rId4"/>
    <p:sldId id="1315" r:id="rId5"/>
    <p:sldId id="1330" r:id="rId6"/>
    <p:sldId id="258" r:id="rId7"/>
    <p:sldId id="1331" r:id="rId8"/>
    <p:sldId id="1332" r:id="rId9"/>
    <p:sldId id="1333" r:id="rId10"/>
    <p:sldId id="1334" r:id="rId11"/>
    <p:sldId id="1335" r:id="rId12"/>
    <p:sldId id="1336" r:id="rId13"/>
  </p:sldIdLst>
  <p:sldSz cx="9144000" cy="6858000" type="screen4x3"/>
  <p:notesSz cx="6797675" cy="9926638"/>
  <p:custDataLst>
    <p:tags r:id="rId1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BFE5E2"/>
    <a:srgbClr val="983C3E"/>
    <a:srgbClr val="FFFF99"/>
    <a:srgbClr val="ECF2F8"/>
    <a:srgbClr val="E7EFED"/>
    <a:srgbClr val="CBDEDA"/>
    <a:srgbClr val="679E9B"/>
    <a:srgbClr val="186B7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15" autoAdjust="0"/>
    <p:restoredTop sz="94764" autoAdjust="0"/>
  </p:normalViewPr>
  <p:slideViewPr>
    <p:cSldViewPr snapToGrid="0" snapToObjects="1" showGuides="1">
      <p:cViewPr varScale="1">
        <p:scale>
          <a:sx n="91" d="100"/>
          <a:sy n="91" d="100"/>
        </p:scale>
        <p:origin x="728" y="176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AF2984C6-1DDC-DB4E-9A02-352358A2CF34}" type="datetime1">
              <a:rPr lang="de-DE" smtClean="0"/>
              <a:t>20.11.18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A1F11F4-D3DA-3F4C-8D01-B151F86D27C1}" type="datetime1">
              <a:rPr lang="de-DE" smtClean="0"/>
              <a:t>20.11.18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86F571A-B5CF-A245-B233-A0282A1C631A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8FEADFE-972D-174F-9639-45482630EE96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A7DA737-E276-DC4A-97D7-9EEE5398F3D0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7822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1B9D9842-1C67-C347-8F39-3357430A87A6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1348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14C47EDD-DE1A-9F4F-8C64-146F7079193E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7388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6E696A1-B85B-054B-8BC2-2F8DCE913D20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33805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ECAF2DD-6112-E945-9F2A-D9BAA516D764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B6259CD-C985-894D-A26B-4AA098ED3E5E}" type="datetime1">
              <a:rPr lang="de-DE" smtClean="0"/>
              <a:t>20.11.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B019E-19FF-7246-B504-842BED065D44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AF3AF55F-EBDA-C04D-AED4-54AE4429170D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72CF591-D374-2F4F-BBF4-750CBC5F7D2B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7303614-758C-E049-B0D5-C85728EEFFA6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B7F0335-84C0-2C41-8676-7AD2E18A1B5E}" type="datetime1">
              <a:rPr lang="de-DE" smtClean="0"/>
              <a:t>20.11.18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C7A847BA-5D6B-DD43-96E6-D1A25516F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351768"/>
            <a:ext cx="8420100" cy="46609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I: Hypothesentests</a:t>
            </a:r>
          </a:p>
        </p:txBody>
      </p:sp>
    </p:spTree>
    <p:extLst>
      <p:ext uri="{BB962C8B-B14F-4D97-AF65-F5344CB8AC3E}">
        <p14:creationId xmlns:p14="http://schemas.microsoft.com/office/powerpoint/2010/main" val="2861116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4 Beispiel Datenanalyse I: Datenbereinig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5639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5 Beispiel Datenanalyse II</a:t>
            </a:r>
            <a:r>
              <a:rPr lang="de-DE"/>
              <a:t>: </a:t>
            </a:r>
          </a:p>
          <a:p>
            <a:r>
              <a:rPr lang="de-DE"/>
              <a:t>Hypothesentest &amp; Modellierun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80442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</a:t>
            </a:r>
            <a:r>
              <a:rPr lang="de-DE" sz="1400" kern="0" dirty="0">
                <a:solidFill>
                  <a:schemeClr val="tx2"/>
                </a:solidFill>
              </a:rPr>
              <a:t>- A/B-</a:t>
            </a:r>
            <a:r>
              <a:rPr lang="de-DE" sz="1400" kern="0" dirty="0" err="1">
                <a:solidFill>
                  <a:schemeClr val="tx2"/>
                </a:solidFill>
              </a:rPr>
              <a:t>Testing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Data Science </a:t>
            </a:r>
            <a:r>
              <a:rPr lang="de-DE" sz="1400" kern="0" dirty="0" err="1">
                <a:solidFill>
                  <a:schemeClr val="tx2"/>
                </a:solidFill>
              </a:rPr>
              <a:t>processes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</a:t>
            </a:r>
            <a:r>
              <a:rPr lang="de-DE" sz="1400" kern="0" dirty="0" err="1">
                <a:solidFill>
                  <a:schemeClr val="tx2"/>
                </a:solidFill>
              </a:rPr>
              <a:t>Storytelling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with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data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9659225"/>
              </p:ext>
            </p:extLst>
          </p:nvPr>
        </p:nvGraphicFramePr>
        <p:xfrm>
          <a:off x="130175" y="971550"/>
          <a:ext cx="8067402" cy="17924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Wissensgenerierender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ernprozess: Datenanalyse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Hilfreiche </a:t>
                      </a:r>
                      <a:r>
                        <a:rPr lang="de-DE" sz="1400" dirty="0" err="1"/>
                        <a:t>Cheatsheets</a:t>
                      </a:r>
                      <a:r>
                        <a:rPr lang="de-DE" sz="1400" dirty="0"/>
                        <a:t> und Orientierungstabell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Beispiel Datenanalyse I: Datenbereinig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Beispiel Datenanalyse II: Hypothesentest &amp; Modellier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Wissensgenerierender Prozes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2 Kernprozess: Datenanaly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rnprozess: Datenanalys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0D31FEC-0F41-3C47-BE11-ACC59ADACE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215" y="1067098"/>
            <a:ext cx="7807569" cy="529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037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3 Hilfreiche </a:t>
            </a:r>
            <a:r>
              <a:rPr lang="de-DE" dirty="0" err="1"/>
              <a:t>Cheatsheets</a:t>
            </a:r>
            <a:r>
              <a:rPr lang="de-DE" dirty="0"/>
              <a:t> und Orientierungstabell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217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2F95B7C6-5AD4-EA4C-9CB4-C5DFB9142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3900"/>
            <a:ext cx="8445500" cy="28702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: Kennzahlen</a:t>
            </a:r>
          </a:p>
        </p:txBody>
      </p:sp>
    </p:spTree>
    <p:extLst>
      <p:ext uri="{BB962C8B-B14F-4D97-AF65-F5344CB8AC3E}">
        <p14:creationId xmlns:p14="http://schemas.microsoft.com/office/powerpoint/2010/main" val="28921301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8D4F328-9D62-7A44-8F09-D51BBD38A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7484"/>
            <a:ext cx="8445500" cy="23241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: Visualisierungen</a:t>
            </a:r>
          </a:p>
        </p:txBody>
      </p:sp>
    </p:spTree>
    <p:extLst>
      <p:ext uri="{BB962C8B-B14F-4D97-AF65-F5344CB8AC3E}">
        <p14:creationId xmlns:p14="http://schemas.microsoft.com/office/powerpoint/2010/main" val="1801274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2</Words>
  <Application>Microsoft Macintosh PowerPoint</Application>
  <PresentationFormat>Bildschirmpräsentation (4:3)</PresentationFormat>
  <Paragraphs>96</Paragraphs>
  <Slides>12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5" baseType="lpstr">
      <vt:lpstr>Arial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PowerPoint-Präsentation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47</cp:revision>
  <cp:lastPrinted>2013-02-22T13:48:11Z</cp:lastPrinted>
  <dcterms:created xsi:type="dcterms:W3CDTF">2017-12-20T06:53:29Z</dcterms:created>
  <dcterms:modified xsi:type="dcterms:W3CDTF">2018-11-20T18:55:04Z</dcterms:modified>
  <cp:version>20140523</cp:version>
</cp:coreProperties>
</file>